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1"/>
  </p:notesMasterIdLst>
  <p:sldIdLst>
    <p:sldId id="592" r:id="rId2"/>
    <p:sldId id="566" r:id="rId3"/>
    <p:sldId id="585" r:id="rId4"/>
    <p:sldId id="576" r:id="rId5"/>
    <p:sldId id="577" r:id="rId6"/>
    <p:sldId id="578" r:id="rId7"/>
    <p:sldId id="579" r:id="rId8"/>
    <p:sldId id="580" r:id="rId9"/>
    <p:sldId id="581" r:id="rId10"/>
    <p:sldId id="582" r:id="rId11"/>
    <p:sldId id="583" r:id="rId12"/>
    <p:sldId id="584" r:id="rId13"/>
    <p:sldId id="570" r:id="rId14"/>
    <p:sldId id="571" r:id="rId15"/>
    <p:sldId id="572" r:id="rId16"/>
    <p:sldId id="574" r:id="rId17"/>
    <p:sldId id="591" r:id="rId18"/>
    <p:sldId id="349" r:id="rId19"/>
    <p:sldId id="590" r:id="rId20"/>
    <p:sldId id="395" r:id="rId21"/>
    <p:sldId id="397" r:id="rId22"/>
    <p:sldId id="447" r:id="rId23"/>
    <p:sldId id="401" r:id="rId24"/>
    <p:sldId id="402" r:id="rId25"/>
    <p:sldId id="589" r:id="rId26"/>
    <p:sldId id="299" r:id="rId27"/>
    <p:sldId id="350" r:id="rId28"/>
    <p:sldId id="383" r:id="rId29"/>
    <p:sldId id="390" r:id="rId30"/>
    <p:sldId id="448" r:id="rId31"/>
    <p:sldId id="449" r:id="rId32"/>
    <p:sldId id="392" r:id="rId33"/>
    <p:sldId id="450" r:id="rId34"/>
    <p:sldId id="405" r:id="rId35"/>
    <p:sldId id="407" r:id="rId36"/>
    <p:sldId id="386" r:id="rId37"/>
    <p:sldId id="393" r:id="rId38"/>
    <p:sldId id="410" r:id="rId39"/>
    <p:sldId id="588" r:id="rId40"/>
    <p:sldId id="414" r:id="rId41"/>
    <p:sldId id="451" r:id="rId42"/>
    <p:sldId id="415" r:id="rId43"/>
    <p:sldId id="416" r:id="rId44"/>
    <p:sldId id="417" r:id="rId45"/>
    <p:sldId id="419" r:id="rId46"/>
    <p:sldId id="420" r:id="rId47"/>
    <p:sldId id="452" r:id="rId48"/>
    <p:sldId id="587" r:id="rId49"/>
    <p:sldId id="422" r:id="rId50"/>
    <p:sldId id="425" r:id="rId51"/>
    <p:sldId id="423" r:id="rId52"/>
    <p:sldId id="424" r:id="rId53"/>
    <p:sldId id="428" r:id="rId54"/>
    <p:sldId id="453" r:id="rId55"/>
    <p:sldId id="432" r:id="rId56"/>
    <p:sldId id="433" r:id="rId57"/>
    <p:sldId id="438" r:id="rId58"/>
    <p:sldId id="454" r:id="rId59"/>
    <p:sldId id="459" r:id="rId60"/>
    <p:sldId id="457" r:id="rId61"/>
    <p:sldId id="458" r:id="rId62"/>
    <p:sldId id="461" r:id="rId63"/>
    <p:sldId id="586" r:id="rId64"/>
    <p:sldId id="497" r:id="rId65"/>
    <p:sldId id="500" r:id="rId66"/>
    <p:sldId id="501" r:id="rId67"/>
    <p:sldId id="499" r:id="rId68"/>
    <p:sldId id="540" r:id="rId69"/>
    <p:sldId id="503" r:id="rId70"/>
    <p:sldId id="504" r:id="rId71"/>
    <p:sldId id="537" r:id="rId72"/>
    <p:sldId id="534" r:id="rId73"/>
    <p:sldId id="543" r:id="rId74"/>
    <p:sldId id="538" r:id="rId75"/>
    <p:sldId id="545" r:id="rId76"/>
    <p:sldId id="546" r:id="rId77"/>
    <p:sldId id="551" r:id="rId78"/>
    <p:sldId id="559" r:id="rId79"/>
    <p:sldId id="487" r:id="rId8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4162" autoAdjust="0"/>
  </p:normalViewPr>
  <p:slideViewPr>
    <p:cSldViewPr snapToGrid="0">
      <p:cViewPr varScale="1">
        <p:scale>
          <a:sx n="67" d="100"/>
          <a:sy n="67" d="100"/>
        </p:scale>
        <p:origin x="14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commentAuthors" Target="commentAuthor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39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4662600"/>
        <c:axId val="564164464"/>
      </c:scatterChart>
      <c:valAx>
        <c:axId val="32466260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64164464"/>
        <c:crosses val="autoZero"/>
        <c:crossBetween val="midCat"/>
      </c:valAx>
      <c:valAx>
        <c:axId val="56416446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2466260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7/1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Multicolinearity</a:t>
            </a:r>
            <a:r>
              <a:rPr lang="en-US" dirty="0" smtClean="0"/>
              <a:t> – counting</a:t>
            </a:r>
            <a:r>
              <a:rPr lang="en-US" baseline="0" dirty="0" smtClean="0"/>
              <a:t> things twice, </a:t>
            </a:r>
            <a:r>
              <a:rPr lang="en-US" baseline="0" dirty="0" err="1" smtClean="0"/>
              <a:t>algo</a:t>
            </a:r>
            <a:r>
              <a:rPr lang="en-US" baseline="0" dirty="0" smtClean="0"/>
              <a:t> understands all 0’s represents a piece of information.</a:t>
            </a:r>
          </a:p>
          <a:p>
            <a:r>
              <a:rPr lang="en-US" baseline="0" dirty="0" smtClean="0"/>
              <a:t>Missing “flag”  - often has a hidden meaning such as data integrity or data collection.  Sometimes these issues are systematic &amp; informa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973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ust did carat to diamond prices</a:t>
            </a:r>
          </a:p>
          <a:p>
            <a:r>
              <a:rPr lang="en-US" dirty="0" smtClean="0"/>
              <a:t>Now let’s add more than 1 inp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should we expect the</a:t>
            </a:r>
            <a:r>
              <a:rPr lang="en-US" baseline="0" dirty="0" smtClean="0"/>
              <a:t> beta signs to be?  </a:t>
            </a:r>
            <a:r>
              <a:rPr lang="en-US" baseline="0" dirty="0" err="1" smtClean="0"/>
              <a:t>Whats</a:t>
            </a:r>
            <a:r>
              <a:rPr lang="en-US" baseline="0" dirty="0" smtClean="0"/>
              <a:t> the relationship the information has with ice cream sales?</a:t>
            </a:r>
          </a:p>
          <a:p>
            <a:r>
              <a:rPr lang="en-US" baseline="0" dirty="0" smtClean="0"/>
              <a:t>Temp goes up? Sales go up.  Temp goes down? Sales go down.  Positive relationship</a:t>
            </a:r>
          </a:p>
          <a:p>
            <a:r>
              <a:rPr lang="en-US" baseline="0" dirty="0" smtClean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 this a good model?</a:t>
            </a:r>
          </a:p>
          <a:p>
            <a:r>
              <a:rPr lang="en-US" dirty="0" smtClean="0"/>
              <a:t>18 + -18 cancel each other 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ncy</a:t>
            </a:r>
            <a:r>
              <a:rPr lang="en-US" baseline="0" dirty="0" smtClean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could drop</a:t>
            </a:r>
            <a:r>
              <a:rPr lang="en-US" baseline="0" dirty="0" smtClean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could drop</a:t>
            </a:r>
            <a:r>
              <a:rPr lang="en-US" baseline="0" dirty="0" smtClean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cument </a:t>
            </a:r>
            <a:r>
              <a:rPr lang="en-US" dirty="0" err="1" smtClean="0"/>
              <a:t>document</a:t>
            </a:r>
            <a:r>
              <a:rPr lang="en-US" dirty="0" smtClean="0"/>
              <a:t> </a:t>
            </a:r>
            <a:r>
              <a:rPr lang="en-US" err="1" smtClean="0"/>
              <a:t>document</a:t>
            </a:r>
            <a:r>
              <a:rPr lang="en-US" smtClean="0"/>
              <a:t>!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4081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r the predict warning about rank deficient matrices:</a:t>
            </a:r>
          </a:p>
          <a:p>
            <a:r>
              <a:rPr lang="en-US" dirty="0" smtClean="0"/>
              <a:t>Rank of the matrix</a:t>
            </a:r>
            <a:r>
              <a:rPr lang="en-US" baseline="0" dirty="0" smtClean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es this answer a Y/N</a:t>
            </a:r>
            <a:r>
              <a:rPr lang="en-US" baseline="0" dirty="0" smtClean="0"/>
              <a:t> question?</a:t>
            </a:r>
          </a:p>
          <a:p>
            <a:r>
              <a:rPr lang="en-US" baseline="0" dirty="0" smtClean="0"/>
              <a:t>Can anyone recognize a problem applying regression to a binary classificati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685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E20BB20-B012-43D1-9405-CFC2D3949679}" type="slidenum">
              <a:rPr lang="en-US" altLang="en-US">
                <a:latin typeface="Calibri" panose="020F0502020204030204" pitchFamily="34" charset="0"/>
              </a:rPr>
              <a:pPr eaLnBrk="1" hangingPunct="1"/>
              <a:t>69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4654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7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3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d mpg to mean </a:t>
            </a:r>
            <a:r>
              <a:rPr lang="en-US" dirty="0" err="1" smtClean="0"/>
              <a:t>avg</a:t>
            </a:r>
            <a:endParaRPr lang="en-US" dirty="0" smtClean="0"/>
          </a:p>
          <a:p>
            <a:r>
              <a:rPr lang="en-US" dirty="0" smtClean="0"/>
              <a:t>Document document </a:t>
            </a:r>
            <a:r>
              <a:rPr lang="en-US" dirty="0" err="1" smtClean="0"/>
              <a:t>document</a:t>
            </a:r>
            <a:endParaRPr lang="en-US" dirty="0" smtClean="0"/>
          </a:p>
          <a:p>
            <a:r>
              <a:rPr lang="en-US" dirty="0" smtClean="0"/>
              <a:t>add fla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054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Hotdeck</a:t>
            </a:r>
            <a:r>
              <a:rPr lang="en-US" dirty="0" smtClean="0"/>
              <a:t> for </a:t>
            </a:r>
            <a:r>
              <a:rPr lang="en-US" dirty="0" err="1" smtClean="0"/>
              <a:t>disp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p</a:t>
            </a:r>
            <a:r>
              <a:rPr lang="en-US" baseline="0" dirty="0" smtClean="0"/>
              <a:t> and </a:t>
            </a:r>
            <a:r>
              <a:rPr lang="en-US" baseline="0" dirty="0" err="1" smtClean="0"/>
              <a:t>wt</a:t>
            </a:r>
            <a:endParaRPr lang="en-US" dirty="0" smtClean="0"/>
          </a:p>
          <a:p>
            <a:r>
              <a:rPr lang="en-US" dirty="0" smtClean="0"/>
              <a:t>Document document </a:t>
            </a:r>
            <a:r>
              <a:rPr lang="en-US" dirty="0" err="1" smtClean="0"/>
              <a:t>document</a:t>
            </a:r>
            <a:endParaRPr lang="en-US" dirty="0" smtClean="0"/>
          </a:p>
          <a:p>
            <a:r>
              <a:rPr lang="en-US" dirty="0" smtClean="0"/>
              <a:t>add fla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4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Hotdeck</a:t>
            </a:r>
            <a:r>
              <a:rPr lang="en-US" dirty="0" smtClean="0"/>
              <a:t> for </a:t>
            </a:r>
            <a:r>
              <a:rPr lang="en-US" dirty="0" err="1" smtClean="0"/>
              <a:t>disp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p</a:t>
            </a:r>
            <a:r>
              <a:rPr lang="en-US" baseline="0" dirty="0" smtClean="0"/>
              <a:t> and </a:t>
            </a:r>
            <a:r>
              <a:rPr lang="en-US" baseline="0" dirty="0" err="1" smtClean="0"/>
              <a:t>wt</a:t>
            </a:r>
            <a:endParaRPr lang="en-US" dirty="0" smtClean="0"/>
          </a:p>
          <a:p>
            <a:r>
              <a:rPr lang="en-US" dirty="0" smtClean="0"/>
              <a:t>Document document </a:t>
            </a:r>
            <a:r>
              <a:rPr lang="en-US" dirty="0" err="1" smtClean="0"/>
              <a:t>document</a:t>
            </a:r>
            <a:endParaRPr lang="en-US" dirty="0" smtClean="0"/>
          </a:p>
          <a:p>
            <a:r>
              <a:rPr lang="en-US" dirty="0" smtClean="0"/>
              <a:t>add fla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116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Hotdeck</a:t>
            </a:r>
            <a:r>
              <a:rPr lang="en-US" dirty="0" smtClean="0"/>
              <a:t> for </a:t>
            </a:r>
            <a:r>
              <a:rPr lang="en-US" dirty="0" err="1" smtClean="0"/>
              <a:t>disp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p</a:t>
            </a:r>
            <a:r>
              <a:rPr lang="en-US" baseline="0" dirty="0" smtClean="0"/>
              <a:t> and </a:t>
            </a:r>
            <a:r>
              <a:rPr lang="en-US" baseline="0" dirty="0" err="1" smtClean="0"/>
              <a:t>wt</a:t>
            </a:r>
            <a:endParaRPr lang="en-US" dirty="0" smtClean="0"/>
          </a:p>
          <a:p>
            <a:r>
              <a:rPr lang="en-US" dirty="0" smtClean="0"/>
              <a:t>Document document </a:t>
            </a:r>
            <a:r>
              <a:rPr lang="en-US" dirty="0" err="1" smtClean="0"/>
              <a:t>document</a:t>
            </a:r>
            <a:endParaRPr lang="en-US" dirty="0" smtClean="0"/>
          </a:p>
          <a:p>
            <a:r>
              <a:rPr lang="en-US" dirty="0" smtClean="0"/>
              <a:t>add fla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7109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utomates a lot</a:t>
            </a:r>
            <a:r>
              <a:rPr lang="en-US" baseline="0" dirty="0" smtClean="0"/>
              <a:t> what we talked about, and some of the books cod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easy, automated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Repeatable </a:t>
            </a:r>
            <a:r>
              <a:rPr lang="en-US" baseline="0" dirty="0" err="1" smtClean="0"/>
              <a:t>bc</a:t>
            </a:r>
            <a:r>
              <a:rPr lang="en-US" baseline="0" dirty="0" smtClean="0"/>
              <a:t> plan is saved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angerous </a:t>
            </a:r>
            <a:r>
              <a:rPr lang="en-US" baseline="0" dirty="0" err="1" smtClean="0"/>
              <a:t>bc</a:t>
            </a:r>
            <a:r>
              <a:rPr lang="en-US" baseline="0" dirty="0" smtClean="0"/>
              <a:t> automation can lead to </a:t>
            </a:r>
            <a:r>
              <a:rPr lang="en-US" baseline="0" dirty="0" err="1" smtClean="0"/>
              <a:t>probs</a:t>
            </a:r>
            <a:r>
              <a:rPr lang="en-US" baseline="0" dirty="0" smtClean="0"/>
              <a:t> (multi-</a:t>
            </a:r>
            <a:r>
              <a:rPr lang="en-US" baseline="0" dirty="0" err="1" smtClean="0"/>
              <a:t>colinarity</a:t>
            </a:r>
            <a:r>
              <a:rPr lang="en-US" baseline="0" dirty="0" smtClean="0"/>
              <a:t>) measuring things tw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133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20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17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17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7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17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17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17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7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17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17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810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sing Numeric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1891" y="1245476"/>
            <a:ext cx="9002109" cy="3231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500" dirty="0" smtClean="0">
                <a:solidFill>
                  <a:schemeClr val="bg1"/>
                </a:solidFill>
              </a:rPr>
              <a:t>Imputation through domain expertise can be VERY time consuming but is sometimes worth it though not often.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69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Consider this data:</a:t>
            </a:r>
            <a:endParaRPr lang="en-US" b="1" u="sng" dirty="0"/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record contains multiple integrity issu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96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Drop a row if:</a:t>
            </a:r>
            <a:endParaRPr lang="en-US" b="1" u="sng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/>
                <a:gridCol w="465138"/>
                <a:gridCol w="276225"/>
                <a:gridCol w="465138"/>
                <a:gridCol w="384175"/>
                <a:gridCol w="374650"/>
                <a:gridCol w="465138"/>
                <a:gridCol w="465138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17.0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46.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.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Impute (use a method to change the value)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-110 looks like a data entry issue &amp; other Mazda has 11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Qsec</a:t>
            </a:r>
            <a:r>
              <a:rPr lang="en-US" dirty="0" smtClean="0"/>
              <a:t> can be imputed with the similar model valu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329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sing Fla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6973" y="1245475"/>
            <a:ext cx="793005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dd missing indicator dummy variables similar to the categorical exercise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69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Consider this data:</a:t>
            </a:r>
            <a:endParaRPr lang="en-US" b="1" u="sng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8671032" cy="26650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4222"/>
                <a:gridCol w="601039"/>
                <a:gridCol w="356929"/>
                <a:gridCol w="601039"/>
                <a:gridCol w="496421"/>
                <a:gridCol w="484109"/>
                <a:gridCol w="601039"/>
                <a:gridCol w="601039"/>
                <a:gridCol w="601039"/>
                <a:gridCol w="601039"/>
                <a:gridCol w="601039"/>
                <a:gridCol w="601039"/>
                <a:gridCol w="601039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 smtClean="0">
                          <a:effectLst/>
                        </a:rPr>
                        <a:t>missingMP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 smtClean="0">
                          <a:effectLst/>
                        </a:rPr>
                        <a:t>missingDisp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 smtClean="0">
                          <a:effectLst/>
                        </a:rPr>
                        <a:t>missing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 smtClean="0">
                          <a:effectLst/>
                        </a:rPr>
                        <a:t>missing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 smtClean="0">
                          <a:effectLst/>
                        </a:rPr>
                        <a:t>missingQSec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17.0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2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146.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3.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 smtClean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0791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b(</a:t>
            </a:r>
            <a:r>
              <a:rPr lang="en-US" dirty="0" err="1" smtClean="0"/>
              <a:t>vtreat</a:t>
            </a:r>
            <a:r>
              <a:rPr lang="en-US" dirty="0" smtClean="0"/>
              <a:t>) – automated variable treat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599090" y="1119841"/>
          <a:ext cx="7898524" cy="2918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7091">
                  <a:extLst>
                    <a:ext uri="{9D8B030D-6E8A-4147-A177-3AD203B41FA5}">
                      <a16:colId xmlns:a16="http://schemas.microsoft.com/office/drawing/2014/main" xmlns="" val="1410238479"/>
                    </a:ext>
                  </a:extLst>
                </a:gridCol>
                <a:gridCol w="4191433">
                  <a:extLst>
                    <a:ext uri="{9D8B030D-6E8A-4147-A177-3AD203B41FA5}">
                      <a16:colId xmlns:a16="http://schemas.microsoft.com/office/drawing/2014/main" xmlns="" val="286917612"/>
                    </a:ext>
                  </a:extLst>
                </a:gridCol>
              </a:tblGrid>
              <a:tr h="325453">
                <a:tc>
                  <a:txBody>
                    <a:bodyPr/>
                    <a:lstStyle/>
                    <a:p>
                      <a:r>
                        <a:rPr lang="en-US" sz="1200" dirty="0" err="1"/>
                        <a:t>Vtreat</a:t>
                      </a:r>
                      <a:r>
                        <a:rPr lang="en-US" sz="1200" baseline="0" dirty="0"/>
                        <a:t> Action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on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06773054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NA,</a:t>
                      </a:r>
                      <a:r>
                        <a:rPr lang="en-US" sz="1200" baseline="0" dirty="0"/>
                        <a:t> NAN, and Infinity replaced with me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n impu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98820890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Indic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issing indic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6703869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Indicator 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ummy vari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21944941"/>
                  </a:ext>
                </a:extLst>
              </a:tr>
              <a:tr h="561741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effectLst/>
                        </a:rPr>
                        <a:t>Estimated single-variable model effect sizes and significances</a:t>
                      </a:r>
                      <a:r>
                        <a:rPr lang="en-US" sz="1200" baseline="0" dirty="0"/>
                        <a:t>.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n response encoding or level difference</a:t>
                      </a:r>
                      <a:r>
                        <a:rPr lang="en-US" sz="1200" baseline="0" dirty="0"/>
                        <a:t> from mean response based on univariate linear model for numeric &amp; Bayes for classification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10973706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Level preval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equency enco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91662254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Level dev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sponse deviation level enco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8132079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Constant/Near Const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ress</a:t>
                      </a:r>
                      <a:r>
                        <a:rPr lang="en-US" sz="1200" baseline="0" dirty="0"/>
                        <a:t> uninformative variabl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34644530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381000" y="4679884"/>
            <a:ext cx="1219200" cy="1752600"/>
            <a:chOff x="381000" y="4800600"/>
            <a:chExt cx="1219200" cy="175260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5313" y="5010150"/>
              <a:ext cx="790575" cy="13335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381000" y="4800600"/>
              <a:ext cx="1219200" cy="17526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1914" y="4999052"/>
            <a:ext cx="3574310" cy="108568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Rectangle 10"/>
          <p:cNvSpPr/>
          <p:nvPr/>
        </p:nvSpPr>
        <p:spPr>
          <a:xfrm>
            <a:off x="2334837" y="5311064"/>
            <a:ext cx="2072441" cy="46166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</a:rPr>
              <a:t>treatmentsN</a:t>
            </a:r>
            <a:r>
              <a:rPr lang="en-US" sz="1200" dirty="0">
                <a:latin typeface="Consolas" panose="020B0609020204030204" pitchFamily="49" charset="0"/>
              </a:rPr>
              <a:t> &lt;- </a:t>
            </a:r>
            <a:r>
              <a:rPr lang="en-US" sz="1200" dirty="0" err="1">
                <a:latin typeface="Consolas" panose="020B0609020204030204" pitchFamily="49" charset="0"/>
              </a:rPr>
              <a:t>designTreatmentsN</a:t>
            </a:r>
            <a:r>
              <a:rPr lang="en-US" sz="1200" dirty="0">
                <a:latin typeface="Consolas" panose="020B0609020204030204" pitchFamily="49" charset="0"/>
              </a:rPr>
              <a:t>(..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8543" y="4380778"/>
            <a:ext cx="7441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Raw Dat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29508" y="4380778"/>
            <a:ext cx="14830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Design Treatment Pla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75548" y="4380778"/>
            <a:ext cx="23070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Prepare Data to get New Data Frame</a:t>
            </a:r>
          </a:p>
        </p:txBody>
      </p:sp>
      <p:cxnSp>
        <p:nvCxnSpPr>
          <p:cNvPr id="15" name="Straight Arrow Connector 14"/>
          <p:cNvCxnSpPr>
            <a:endCxn id="13" idx="1"/>
          </p:cNvCxnSpPr>
          <p:nvPr/>
        </p:nvCxnSpPr>
        <p:spPr>
          <a:xfrm>
            <a:off x="1362657" y="4511583"/>
            <a:ext cx="12668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13" idx="3"/>
            <a:endCxn id="14" idx="1"/>
          </p:cNvCxnSpPr>
          <p:nvPr/>
        </p:nvCxnSpPr>
        <p:spPr>
          <a:xfrm>
            <a:off x="4112606" y="4511583"/>
            <a:ext cx="16629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03303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ing Proce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769780" y="3081336"/>
            <a:ext cx="4159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cleanup, Dimension Reduction, Feature Engineering &amp; Feature Enrichment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28637" y="1266818"/>
            <a:ext cx="3829050" cy="433388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smtClean="0">
                <a:solidFill>
                  <a:schemeClr val="bg1"/>
                </a:solidFill>
                <a:latin typeface="Franklin Gothic Book" pitchFamily="34" charset="0"/>
              </a:rPr>
              <a:t>SEMMA (from SAS)</a:t>
            </a:r>
            <a:endParaRPr lang="en-US" altLang="en-US" sz="28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28662" y="5514980"/>
            <a:ext cx="8072437" cy="600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ften data is sampled from a large database so you can more quickly explore, apply methods and prototype before reassessing on full data. </a:t>
            </a:r>
            <a:endParaRPr lang="en-US" dirty="0"/>
          </a:p>
        </p:txBody>
      </p:sp>
      <p:sp>
        <p:nvSpPr>
          <p:cNvPr id="9" name="Pentagon 8"/>
          <p:cNvSpPr/>
          <p:nvPr/>
        </p:nvSpPr>
        <p:spPr>
          <a:xfrm>
            <a:off x="514342" y="18716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. Sample</a:t>
            </a:r>
            <a:endParaRPr lang="en-US" dirty="0"/>
          </a:p>
        </p:txBody>
      </p:sp>
      <p:sp>
        <p:nvSpPr>
          <p:cNvPr id="10" name="Pentagon 9"/>
          <p:cNvSpPr/>
          <p:nvPr/>
        </p:nvSpPr>
        <p:spPr>
          <a:xfrm>
            <a:off x="514342" y="250983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. Explore</a:t>
            </a:r>
            <a:endParaRPr lang="en-US" dirty="0"/>
          </a:p>
        </p:txBody>
      </p:sp>
      <p:sp>
        <p:nvSpPr>
          <p:cNvPr id="11" name="Pentagon 10"/>
          <p:cNvSpPr/>
          <p:nvPr/>
        </p:nvSpPr>
        <p:spPr>
          <a:xfrm>
            <a:off x="514342" y="314800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. Modify</a:t>
            </a:r>
            <a:endParaRPr lang="en-US" dirty="0"/>
          </a:p>
        </p:txBody>
      </p:sp>
      <p:sp>
        <p:nvSpPr>
          <p:cNvPr id="12" name="Pentagon 11"/>
          <p:cNvSpPr/>
          <p:nvPr/>
        </p:nvSpPr>
        <p:spPr>
          <a:xfrm>
            <a:off x="514342" y="378618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. Model</a:t>
            </a:r>
            <a:endParaRPr lang="en-US" dirty="0"/>
          </a:p>
        </p:txBody>
      </p:sp>
      <p:sp>
        <p:nvSpPr>
          <p:cNvPr id="13" name="Pentagon 12"/>
          <p:cNvSpPr/>
          <p:nvPr/>
        </p:nvSpPr>
        <p:spPr>
          <a:xfrm>
            <a:off x="514342" y="44243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. Assess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769780" y="4429125"/>
            <a:ext cx="38193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re are many ways to evaluate a model.  We will cover specific KPI and business implications.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4786381" y="24145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2452686"/>
            <a:ext cx="4374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s part of your course analysis you perform basic exploratory data analysis (EDA)</a:t>
            </a:r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1099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786381" y="37528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769780" y="37528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gression, Logistic Regression, KNN, Decision Trees, Random Forest etc.</a:t>
            </a:r>
            <a:endParaRPr lang="en-US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4786381" y="44100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4769780" y="18097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this course, most data sets are curated for you.</a:t>
            </a:r>
            <a:endParaRPr lang="en-US" dirty="0"/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667249" y="1262056"/>
            <a:ext cx="3829050" cy="433388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Franklin Gothic Book" pitchFamily="34" charset="0"/>
              </a:rPr>
              <a:t>In this course…</a:t>
            </a:r>
            <a:endParaRPr lang="en-US" altLang="en-US" sz="28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23" name="5-Point Star 22"/>
          <p:cNvSpPr/>
          <p:nvPr/>
        </p:nvSpPr>
        <p:spPr>
          <a:xfrm rot="20509714">
            <a:off x="1299413" y="2486525"/>
            <a:ext cx="529389" cy="52938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5-Point Star 23"/>
          <p:cNvSpPr/>
          <p:nvPr/>
        </p:nvSpPr>
        <p:spPr>
          <a:xfrm rot="20509714">
            <a:off x="1371603" y="3168315"/>
            <a:ext cx="529389" cy="52938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129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s in Data Mining (from the book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Define/understand purpose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Obtain data (may involve random sampling)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b="1" dirty="0" smtClean="0">
                <a:latin typeface="Franklin Gothic Book" pitchFamily="34" charset="0"/>
              </a:rPr>
              <a:t>Explore, clean, pre-process data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Reduce the data; if supervised DM, </a:t>
            </a:r>
            <a:r>
              <a:rPr lang="en-US" altLang="en-US" b="1" dirty="0" smtClean="0">
                <a:latin typeface="Franklin Gothic Book" pitchFamily="34" charset="0"/>
              </a:rPr>
              <a:t>partition it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Specify task (classification, clustering, etc.)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b="1" dirty="0" smtClean="0">
                <a:latin typeface="Franklin Gothic Book" pitchFamily="34" charset="0"/>
              </a:rPr>
              <a:t>Choose the techniques </a:t>
            </a:r>
            <a:r>
              <a:rPr lang="en-US" altLang="en-US" dirty="0" smtClean="0">
                <a:latin typeface="Franklin Gothic Book" pitchFamily="34" charset="0"/>
              </a:rPr>
              <a:t>(regression, CART, neural networks, etc.)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Iterative implementation and “tuning” 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Assess results – compare models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 smtClean="0">
                <a:latin typeface="Franklin Gothic Book" pitchFamily="34" charset="0"/>
              </a:rPr>
              <a:t>Deploy best model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endParaRPr lang="en-US" alt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641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model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algorithm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138" y="1568524"/>
            <a:ext cx="3657600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12295" y="1568524"/>
            <a:ext cx="460408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 smtClean="0"/>
              <a:t>Empirical </a:t>
            </a:r>
            <a:r>
              <a:rPr lang="en-US" sz="2400" b="1" dirty="0" smtClean="0"/>
              <a:t>models</a:t>
            </a:r>
            <a:endParaRPr lang="en-US" sz="2400" b="1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u="sng" dirty="0" smtClean="0"/>
              <a:t>No Math:</a:t>
            </a:r>
            <a:endParaRPr lang="en-US" b="1" u="sng" dirty="0" smtClean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Algo#1</a:t>
            </a:r>
            <a:r>
              <a:rPr lang="en-US" dirty="0" smtClean="0"/>
              <a:t>: “fur” =Y, “tail”=Y, “claws”=Y, “meow”=Y therefore high probability that’s a ca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Algo#2</a:t>
            </a:r>
            <a:r>
              <a:rPr lang="en-US" dirty="0" smtClean="0"/>
              <a:t>: “another meme”=Y, “short &amp; bald professor”=Y therefore “professor trying to hard to be cool</a:t>
            </a:r>
            <a:r>
              <a:rPr lang="en-US" dirty="0" smtClean="0"/>
              <a:t>”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u="sng" dirty="0" smtClean="0"/>
              <a:t>Machine learning (math based)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Algorithm (regression, KNN, Trees) is the method to have a computer understand a complex data structur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56674" y="5815013"/>
            <a:ext cx="8373979" cy="3451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gardless of type, all models can </a:t>
            </a:r>
            <a:r>
              <a:rPr lang="en-US" dirty="0" smtClean="0"/>
              <a:t>be correct or lead you to incorrect assumptions.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736303" y="994355"/>
            <a:ext cx="76713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/>
              <a:t>An model is a set of rules governing actions or phenomena.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388140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ocabul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51337" y="1692161"/>
            <a:ext cx="3673366" cy="5675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is a model?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945116" y="1692161"/>
            <a:ext cx="3694387" cy="5675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is an algorithm?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51338" y="2317530"/>
            <a:ext cx="3673366" cy="193899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A set of rules governing actions, or describing phenomena. </a:t>
            </a:r>
          </a:p>
          <a:p>
            <a:r>
              <a:rPr lang="en-US" dirty="0" smtClean="0"/>
              <a:t>Some representation of reality.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945117" y="2317530"/>
            <a:ext cx="3673366" cy="193899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The method you choose to construct the model rules. </a:t>
            </a:r>
          </a:p>
          <a:p>
            <a:r>
              <a:rPr lang="en-US" dirty="0"/>
              <a:t>The way you expect to learn about reality.</a:t>
            </a:r>
          </a:p>
        </p:txBody>
      </p:sp>
      <p:sp>
        <p:nvSpPr>
          <p:cNvPr id="7" name="Rectangle 6"/>
          <p:cNvSpPr/>
          <p:nvPr/>
        </p:nvSpPr>
        <p:spPr>
          <a:xfrm>
            <a:off x="725214" y="5596762"/>
            <a:ext cx="7693573" cy="5360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 algorithm produces the model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839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3985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 smtClean="0"/>
              <a:t>Open </a:t>
            </a:r>
            <a:r>
              <a:rPr lang="en-US" sz="2400" u="sng" dirty="0" err="1" smtClean="0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edict Diamond Prices with linear regress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535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0088" y="2028825"/>
            <a:ext cx="752032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y 1 – Basics of data mining including structure of a business probl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y 2 – R environment, some basic Exploratory Data Analysis, visuals,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y 3- </a:t>
            </a:r>
            <a:r>
              <a:rPr lang="en-US" u="sng" dirty="0" smtClean="0"/>
              <a:t>Revision</a:t>
            </a:r>
            <a:r>
              <a:rPr lang="en-US" dirty="0" smtClean="0"/>
              <a:t>: Preparing your data for modeling using </a:t>
            </a:r>
            <a:r>
              <a:rPr lang="en-US" b="1" dirty="0" smtClean="0"/>
              <a:t>library(</a:t>
            </a:r>
            <a:r>
              <a:rPr lang="en-US" b="1" dirty="0" err="1" smtClean="0"/>
              <a:t>vtreat</a:t>
            </a:r>
            <a:r>
              <a:rPr lang="en-US" b="1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y 3- Regressions/Logistic Regression - </a:t>
            </a:r>
            <a:r>
              <a:rPr lang="en-US" b="1" dirty="0" smtClean="0"/>
              <a:t>abridged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42135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dirty="0" smtClean="0"/>
              <a:t>The problem of Overfitting</a:t>
            </a:r>
            <a:endParaRPr lang="en-US" alt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535250448"/>
              </p:ext>
            </p:extLst>
          </p:nvPr>
        </p:nvGraphicFramePr>
        <p:xfrm>
          <a:off x="214313" y="1447800"/>
          <a:ext cx="5578317" cy="328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/>
          <p:cNvSpPr/>
          <p:nvPr/>
        </p:nvSpPr>
        <p:spPr>
          <a:xfrm>
            <a:off x="6000749" y="1538495"/>
            <a:ext cx="27860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r>
              <a:rPr lang="en-US" altLang="en-US" dirty="0">
                <a:latin typeface="Franklin Gothic Book" pitchFamily="34" charset="0"/>
              </a:rPr>
              <a:t>The “fit” may be </a:t>
            </a:r>
            <a:r>
              <a:rPr lang="en-US" altLang="en-US" dirty="0" smtClean="0">
                <a:latin typeface="Franklin Gothic Book" pitchFamily="34" charset="0"/>
              </a:rPr>
              <a:t>excellent</a:t>
            </a: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85750" y="5329238"/>
            <a:ext cx="8443913" cy="7858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ware of models that look perfect. </a:t>
            </a:r>
            <a:r>
              <a:rPr lang="en-US" dirty="0">
                <a:latin typeface="Franklin Gothic Book" pitchFamily="34" charset="0"/>
              </a:rPr>
              <a:t>Deployed model will not work as well as expected with completely new </a:t>
            </a:r>
            <a:r>
              <a:rPr lang="en-US" dirty="0" smtClean="0">
                <a:latin typeface="Franklin Gothic Book" pitchFamily="34" charset="0"/>
              </a:rPr>
              <a:t>data.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ize Overfitting - Partitio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mtClean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smtClean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smtClean="0"/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ize Overfitting - Partitio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 smtClean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dirty="0" smtClean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 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Gla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Next Glass is </a:t>
            </a:r>
            <a:r>
              <a:rPr lang="en-US" sz="1400" i="1" dirty="0" smtClean="0"/>
              <a:t>now </a:t>
            </a:r>
            <a:r>
              <a:rPr lang="en-US" sz="1400" i="1" dirty="0" smtClean="0"/>
              <a:t>out of business but leveraged chemistry &amp; modeling for it’s business model.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/Test</a:t>
            </a:r>
            <a:endParaRPr lang="en-US" dirty="0"/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/Validation/Test</a:t>
            </a:r>
            <a:endParaRPr lang="en-US" dirty="0"/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 smtClean="0"/>
              <a:t>Open </a:t>
            </a:r>
            <a:r>
              <a:rPr lang="en-US" sz="2400" b="1" u="sng" dirty="0" err="1" smtClean="0"/>
              <a:t>B_anotherGlass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1356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ed Lear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39137" y="2319692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272112" y="2319692"/>
            <a:ext cx="118082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 smtClean="0">
                <a:latin typeface="Open Sans"/>
                <a:ea typeface="Open Sans"/>
                <a:cs typeface="Open Sans"/>
                <a:sym typeface="Open Sans"/>
              </a:rPr>
              <a:t>Algorithm</a:t>
            </a:r>
            <a:endParaRPr lang="en" u="sng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  <a:endParaRPr lang="en" sz="1200" i="1" dirty="0" smtClean="0">
              <a:latin typeface="Open Sans"/>
              <a:ea typeface="Open Sans"/>
              <a:cs typeface="Open Sans"/>
              <a:sym typeface="Open Sans"/>
            </a:endParaRP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 smtClean="0">
                <a:latin typeface="Open Sans"/>
                <a:ea typeface="Open Sans"/>
                <a:cs typeface="Open Sans"/>
                <a:sym typeface="Open Sans"/>
              </a:rPr>
              <a:t>One </a:t>
            </a:r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</a:t>
            </a:r>
            <a:r>
              <a:rPr lang="en" u="sng" dirty="0" smtClean="0">
                <a:latin typeface="Open Sans"/>
                <a:ea typeface="Open Sans"/>
                <a:cs typeface="Open Sans"/>
                <a:sym typeface="Open Sans"/>
              </a:rPr>
              <a:t>Context</a:t>
            </a:r>
            <a:endParaRPr lang="en" u="sng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</a:t>
            </a:r>
            <a:r>
              <a:rPr lang="en" sz="1100" dirty="0" smtClean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QB score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 smtClean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  <a:endParaRPr lang="en" sz="1200" i="1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ed Learning Exam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impacts ice cream sale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 smtClean="0"/>
              <a:t>Linear Regression for continuous outco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498" t="-2439" b="-268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me linear combination of temperature values, day of the week dummy variables and price estimate the number of cones that will sel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 smtClean="0"/>
              <a:t>Informative features or “predictors”</a:t>
            </a:r>
            <a:endParaRPr lang="en-US" altLang="en-US" dirty="0"/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 smtClean="0"/>
              <a:t>Error or residuals (noise</a:t>
            </a:r>
            <a:r>
              <a:rPr lang="en-US" altLang="en-US" dirty="0"/>
              <a:t>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 smtClean="0">
                <a:solidFill>
                  <a:schemeClr val="tx1"/>
                </a:solidFill>
              </a:rPr>
              <a:t>This combination manifests as the “best fit line”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</a:t>
            </a:r>
            <a:r>
              <a:rPr lang="en-US" dirty="0" smtClean="0"/>
              <a:t>Structure for Analysis &amp; Model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BFE3DC6-3500-48AC-9D27-AEC877D5BC18}"/>
              </a:ext>
            </a:extLst>
          </p:cNvPr>
          <p:cNvSpPr/>
          <p:nvPr/>
        </p:nvSpPr>
        <p:spPr>
          <a:xfrm>
            <a:off x="558769" y="5721081"/>
            <a:ext cx="8026463" cy="5056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Generally we will use data frames to avoid complexity but you will be exposed to other data types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BDD1BB3F-1D1B-403E-9F8C-744FDB591F4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6098" y="2628917"/>
          <a:ext cx="7886704" cy="1536372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1741219">
                  <a:extLst>
                    <a:ext uri="{9D8B030D-6E8A-4147-A177-3AD203B41FA5}">
                      <a16:colId xmlns:a16="http://schemas.microsoft.com/office/drawing/2014/main" xmlns="" val="246255586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220619849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3734439586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469885366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3818820315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1899382651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85536188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1530926501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4505107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4077622788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190646905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36841032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2174536082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3508400820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36029257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xmlns="" val="1568320996"/>
                    </a:ext>
                  </a:extLst>
                </a:gridCol>
              </a:tblGrid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am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mf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y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alori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rotei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fa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odiu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fib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arb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uga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otas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itamin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hel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weigh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up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atin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360110683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100%_Bra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68.4029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2753143261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100%_Natural_Bra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Q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3.983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3160689158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ll-Bra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9.425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121999815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ll-Bran_with_Extra_Fib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3.704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28041270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lmond_Deligh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4.384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1693462464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pple_Cinnamon_Cheerio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9.509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2023565058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pple_Jack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3.174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3359589694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asic_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7.038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2781848578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n_Chex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9.120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186138773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n_Fl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3.313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248348848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ap'n'Crun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Q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 dirty="0">
                          <a:effectLst/>
                        </a:rPr>
                        <a:t>18.0428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xmlns="" val="2131974887"/>
                  </a:ext>
                </a:extLst>
              </a:tr>
            </a:tbl>
          </a:graphicData>
        </a:graphic>
      </p:graphicFrame>
      <p:sp>
        <p:nvSpPr>
          <p:cNvPr id="9" name="Left Brace 8">
            <a:extLst>
              <a:ext uri="{FF2B5EF4-FFF2-40B4-BE49-F238E27FC236}">
                <a16:creationId xmlns:a16="http://schemas.microsoft.com/office/drawing/2014/main" xmlns="" id="{919A332C-BE54-4C04-B14E-FBCDF1808BDC}"/>
              </a:ext>
            </a:extLst>
          </p:cNvPr>
          <p:cNvSpPr/>
          <p:nvPr/>
        </p:nvSpPr>
        <p:spPr>
          <a:xfrm rot="5400000">
            <a:off x="1000683" y="1502037"/>
            <a:ext cx="492295" cy="1761464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B5B214D-231D-439A-B409-B9F9FA6C0A25}"/>
              </a:ext>
            </a:extLst>
          </p:cNvPr>
          <p:cNvSpPr txBox="1"/>
          <p:nvPr/>
        </p:nvSpPr>
        <p:spPr>
          <a:xfrm>
            <a:off x="488894" y="1548996"/>
            <a:ext cx="1511363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dentifier</a:t>
            </a:r>
            <a:endParaRPr lang="en-US" dirty="0"/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xmlns="" id="{610D5220-7462-40A6-A85B-0CE3AB34BD11}"/>
              </a:ext>
            </a:extLst>
          </p:cNvPr>
          <p:cNvSpPr/>
          <p:nvPr/>
        </p:nvSpPr>
        <p:spPr>
          <a:xfrm rot="5400000">
            <a:off x="4683052" y="-492119"/>
            <a:ext cx="565550" cy="5676528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xmlns="" id="{E4CAD567-797C-4C87-9CC6-DEA8CD4AE555}"/>
              </a:ext>
            </a:extLst>
          </p:cNvPr>
          <p:cNvSpPr/>
          <p:nvPr/>
        </p:nvSpPr>
        <p:spPr>
          <a:xfrm rot="5400000">
            <a:off x="7750608" y="2126726"/>
            <a:ext cx="555675" cy="448712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B5B214D-231D-439A-B409-B9F9FA6C0A25}"/>
              </a:ext>
            </a:extLst>
          </p:cNvPr>
          <p:cNvSpPr txBox="1"/>
          <p:nvPr/>
        </p:nvSpPr>
        <p:spPr>
          <a:xfrm>
            <a:off x="3886203" y="1487079"/>
            <a:ext cx="2166938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formative Features or predictors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B5B214D-231D-439A-B409-B9F9FA6C0A25}"/>
              </a:ext>
            </a:extLst>
          </p:cNvPr>
          <p:cNvSpPr txBox="1"/>
          <p:nvPr/>
        </p:nvSpPr>
        <p:spPr>
          <a:xfrm>
            <a:off x="7156394" y="1101321"/>
            <a:ext cx="1511363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arget, Y, or Dependent Vari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8626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-0.5</a:t>
                  </a:r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  <a:endParaRPr lang="en" sz="20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17432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Beta-Naug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mper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 * 80 degre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 * 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0.5 * 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 * 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 * 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0.5 * 2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-0.5</a:t>
                  </a:r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  <a:endParaRPr lang="en" sz="20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015365"/>
              </p:ext>
            </p:extLst>
          </p:nvPr>
        </p:nvGraphicFramePr>
        <p:xfrm>
          <a:off x="2173486" y="3833067"/>
          <a:ext cx="6096000" cy="124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219200"/>
                <a:gridCol w="1219200"/>
                <a:gridCol w="1219200"/>
                <a:gridCol w="12192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est</a:t>
                      </a:r>
                      <a:r>
                        <a:rPr lang="en-US" baseline="0" dirty="0" smtClean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eta-Naug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mper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6.5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2.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7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1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 smtClean="0"/>
              <a:t>Minimizing the Sum of Ordinary Least Squared Error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quation:</a:t>
            </a:r>
          </a:p>
          <a:p>
            <a:r>
              <a:rPr lang="en-US" dirty="0" smtClean="0"/>
              <a:t>Y= 0 +(0*x)</a:t>
            </a:r>
          </a:p>
          <a:p>
            <a:endParaRPr lang="en-US" dirty="0"/>
          </a:p>
          <a:p>
            <a:r>
              <a:rPr lang="en-US" dirty="0" smtClean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 smtClean="0"/>
          </a:p>
          <a:p>
            <a:r>
              <a:rPr lang="en-US" dirty="0" smtClean="0"/>
              <a:t>X </a:t>
            </a:r>
            <a:r>
              <a:rPr lang="en-US" dirty="0"/>
              <a:t>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 smtClean="0"/>
              <a:t>Big Error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quation:</a:t>
            </a:r>
          </a:p>
          <a:p>
            <a:r>
              <a:rPr lang="en-US" dirty="0" smtClean="0"/>
              <a:t>Y= 0 +(0*x)</a:t>
            </a:r>
          </a:p>
          <a:p>
            <a:endParaRPr lang="en-US" dirty="0"/>
          </a:p>
          <a:p>
            <a:r>
              <a:rPr lang="en-US" dirty="0" smtClean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 smtClean="0"/>
          </a:p>
          <a:p>
            <a:r>
              <a:rPr lang="en-US" dirty="0" smtClean="0"/>
              <a:t>X </a:t>
            </a:r>
            <a:r>
              <a:rPr lang="en-US" dirty="0"/>
              <a:t>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really going 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some are negative and some are positiv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smtClean="0"/>
              <a:t>Least </a:t>
            </a:r>
            <a:r>
              <a:rPr lang="en-US" i="1" dirty="0" smtClean="0"/>
              <a:t>Squared</a:t>
            </a:r>
            <a:r>
              <a:rPr lang="en-US" dirty="0" smtClean="0"/>
              <a:t> </a:t>
            </a:r>
            <a:r>
              <a:rPr lang="en-US" dirty="0" smtClean="0"/>
              <a:t>Err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825632"/>
              </p:ext>
            </p:extLst>
          </p:nvPr>
        </p:nvGraphicFramePr>
        <p:xfrm>
          <a:off x="1270958" y="1885372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262162"/>
              </p:ext>
            </p:extLst>
          </p:nvPr>
        </p:nvGraphicFramePr>
        <p:xfrm>
          <a:off x="5392273" y="1885372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972404"/>
              </p:ext>
            </p:extLst>
          </p:nvPr>
        </p:nvGraphicFramePr>
        <p:xfrm>
          <a:off x="7890233" y="1885372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288737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541009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2873518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457563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4826863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18 + </a:t>
            </a:r>
            <a:r>
              <a:rPr lang="en-US" sz="2400" dirty="0" smtClean="0"/>
              <a:t>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 smtClean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8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 smtClean="0"/>
              <a:t> + </a:t>
            </a:r>
            <a:r>
              <a:rPr lang="en-US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-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b="1" dirty="0" smtClean="0">
                <a:solidFill>
                  <a:schemeClr val="accent1"/>
                </a:solidFill>
              </a:rPr>
              <a:t>+ </a:t>
            </a:r>
            <a:r>
              <a:rPr lang="en-US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 smtClean="0">
                <a:solidFill>
                  <a:schemeClr val="accent1"/>
                </a:solidFill>
              </a:rPr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15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5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21" name="Rectangle 20"/>
          <p:cNvSpPr/>
          <p:nvPr/>
        </p:nvSpPr>
        <p:spPr>
          <a:xfrm>
            <a:off x="6664035" y="4780167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11267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4658239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-3</a:t>
            </a:r>
            <a:endParaRPr lang="en-US" sz="4000" b="1" dirty="0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Squaring the error means all errors have the same impact on the optimization function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 what is really going 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 smtClean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s is called “ordinary least squares (OLS).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886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C_Regression_v1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Vs Predic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e is a positive relationship between number of rooms and housing prices.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" y="2966605"/>
            <a:ext cx="3305175" cy="125730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2044930" y="3790604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Holding all other inputs constant </a:t>
            </a:r>
            <a:r>
              <a:rPr lang="en-US" dirty="0" smtClean="0"/>
              <a:t>the median price would increase 9.534 for each room.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04106" y="5585028"/>
            <a:ext cx="8611293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 contrast what would the relationship be for crime?  Positive or Negati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519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ummy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5214" y="1245475"/>
            <a:ext cx="7709338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ummy Variables represent category levels as 1/0 within new vectors.  For some approaches, this lets the algorithm understand the information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2236075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sider this data:</a:t>
            </a:r>
            <a:endParaRPr lang="en-US" u="sng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627117" y="3048602"/>
          <a:ext cx="3648902" cy="2026920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919163"/>
                <a:gridCol w="681038"/>
                <a:gridCol w="923481"/>
                <a:gridCol w="112522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>
                          <a:effectLst/>
                        </a:rPr>
                        <a:t>CuI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Gen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rofessio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ffiliatio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43E43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urs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mocra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36E50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each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depende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91E6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nag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epublic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17E25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tude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mocra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27E79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xecutiv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74E43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nag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epublic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25E46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each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emocra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761186" y="2963917"/>
            <a:ext cx="419505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wouldn’t use the ID </a:t>
            </a:r>
            <a:r>
              <a:rPr lang="en-US" dirty="0" err="1" smtClean="0"/>
              <a:t>var</a:t>
            </a:r>
            <a:r>
              <a:rPr lang="en-US" dirty="0" smtClean="0"/>
              <a:t> for trai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ender has 2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fession has 5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ffiliation has 3 levels &amp; missing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945118" y="2236075"/>
            <a:ext cx="2531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Through EDA you realize:</a:t>
            </a:r>
            <a:endParaRPr lang="en-US" u="sng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4325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 smtClean="0"/>
              <a:t>How does truecar.com know the price is “great?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Yeah!  I got a new job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le, </a:t>
            </a:r>
            <a:r>
              <a:rPr lang="en-US" dirty="0"/>
              <a:t>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 smtClean="0"/>
              <a:t>Welcome Dale to </a:t>
            </a:r>
            <a:r>
              <a:rPr lang="en-US" dirty="0" err="1" smtClean="0"/>
              <a:t>TrueCar’s</a:t>
            </a:r>
            <a:r>
              <a:rPr lang="en-US" dirty="0" smtClean="0"/>
              <a:t> Competitor: </a:t>
            </a:r>
            <a:r>
              <a:rPr lang="en-US" dirty="0" err="1" smtClean="0"/>
              <a:t>OldC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help Dale aga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ut of course.  This sounds like a predictive modeling project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 smtClean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 smtClean="0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</a:t>
            </a:r>
            <a:r>
              <a:rPr lang="en-US" sz="2800" b="1" u="sng" dirty="0" err="1" smtClean="0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ing the preprocessing and partitioning code in your toolbox, create a linear model of Toyota pric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is susceptible to </a:t>
            </a:r>
            <a:r>
              <a:rPr lang="en-US" b="1" dirty="0" smtClean="0">
                <a:solidFill>
                  <a:schemeClr val="accent1"/>
                </a:solidFill>
              </a:rPr>
              <a:t>multi-</a:t>
            </a:r>
            <a:r>
              <a:rPr lang="en-US" b="1" dirty="0" err="1" smtClean="0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Don’t shock the cat by having multi-collinearity.</a:t>
            </a:r>
            <a:endParaRPr lang="en-US" sz="1200" i="1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Math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In other word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presence of two or more predictor variables sharing the same linear relationship with the outcome variable. 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wo+ informative features are measuring essentially the same thing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en predicting ice cream sales you include Fahrenheit and Celsius temperatures as two separate informative featur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is susceptible to </a:t>
            </a:r>
            <a:r>
              <a:rPr lang="en-US" b="1" dirty="0" smtClean="0">
                <a:solidFill>
                  <a:schemeClr val="accent1"/>
                </a:solidFill>
              </a:rPr>
              <a:t>multi-</a:t>
            </a:r>
            <a:r>
              <a:rPr lang="en-US" b="1" dirty="0" err="1" smtClean="0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What happens with multi-collinearity?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The good new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Best Practic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effect is exaggerated e.g. double counted. 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ther algorithms are not affected by double counting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ven though </a:t>
            </a:r>
            <a:r>
              <a:rPr lang="en-US" dirty="0"/>
              <a:t>R</a:t>
            </a:r>
            <a:r>
              <a:rPr lang="en-US" dirty="0" smtClean="0"/>
              <a:t> removes it, do not rely on the function.  Understanding the data you put in will avoid “garbage in, garbage out” scenarios.</a:t>
            </a:r>
            <a:endParaRPr lang="en-US" dirty="0"/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Make happy cats by</a:t>
            </a:r>
          </a:p>
          <a:p>
            <a:pPr algn="ctr"/>
            <a:r>
              <a:rPr lang="en-US" sz="1400" dirty="0" smtClean="0"/>
              <a:t> knowing your data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R, script D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8021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uto ID of multi </a:t>
            </a:r>
            <a:r>
              <a:rPr lang="en-US" sz="1200" dirty="0" err="1" smtClean="0"/>
              <a:t>colinearit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ummy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5214" y="1072049"/>
            <a:ext cx="7709338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lways make dummy variables “1 less than the state of the data nature”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468414" y="1479321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sider this data:</a:t>
            </a:r>
            <a:endParaRPr lang="en-US" u="sng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660869" y="1897710"/>
          <a:ext cx="3648902" cy="1524000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919163"/>
                <a:gridCol w="681038"/>
                <a:gridCol w="923481"/>
                <a:gridCol w="112522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err="1">
                          <a:effectLst/>
                        </a:rPr>
                        <a:t>CuI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Gend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Professio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Affiliation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43E43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Nurs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Democra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36E50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Teach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Independen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91E6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nag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Republica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17E25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Studen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Democra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27E79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Executiv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74E43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nag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Republica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25E46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Teacher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Democra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597118" y="3825022"/>
          <a:ext cx="7915515" cy="15411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470"/>
                <a:gridCol w="856435"/>
                <a:gridCol w="1026569"/>
                <a:gridCol w="1133262"/>
                <a:gridCol w="1176517"/>
                <a:gridCol w="1133262"/>
                <a:gridCol w="749742"/>
                <a:gridCol w="703603"/>
                <a:gridCol w="553655"/>
              </a:tblGrid>
              <a:tr h="313505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ID</a:t>
                      </a:r>
                      <a:endParaRPr 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der__Male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Nurse</a:t>
                      </a:r>
                      <a:endParaRPr 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Teacher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Manager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Student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iliation_D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iliation_I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iliation_Missing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43E439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36E506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91E65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17E255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27E792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74E43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25E466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</a:tr>
            </a:tbl>
          </a:graphicData>
        </a:graphic>
      </p:graphicFrame>
      <p:sp>
        <p:nvSpPr>
          <p:cNvPr id="13" name="Isosceles Triangle 12"/>
          <p:cNvSpPr/>
          <p:nvPr/>
        </p:nvSpPr>
        <p:spPr>
          <a:xfrm rot="10800000">
            <a:off x="2191407" y="3531466"/>
            <a:ext cx="4587765" cy="394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72663" y="5481144"/>
            <a:ext cx="7709338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 light switch has 2 states, on/off.  You only need 1 switch.  The same is true as more levels are added, you don’t need one for each level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89322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ummary </a:t>
            </a:r>
            <a:r>
              <a:rPr lang="en-US" sz="1200" dirty="0" smtClean="0"/>
              <a:t>stats for the errors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reated Variable Names i.e. informative features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oefficients or Beta values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Small p-values mean </a:t>
            </a:r>
            <a:r>
              <a:rPr lang="en-US" sz="1200" dirty="0" smtClean="0"/>
              <a:t>the coefficient impact is </a:t>
            </a:r>
            <a:r>
              <a:rPr lang="en-US" sz="1200" dirty="0" smtClean="0"/>
              <a:t> less likely due to be chance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7586663" y="2343150"/>
            <a:ext cx="1285875" cy="8286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In stats &lt;.05</a:t>
            </a:r>
          </a:p>
          <a:p>
            <a:pPr algn="ctr"/>
            <a:r>
              <a:rPr lang="en-US" sz="1600" dirty="0" smtClean="0"/>
              <a:t>In reality &lt;0.2</a:t>
            </a:r>
            <a:endParaRPr lang="en-US" sz="1600" dirty="0"/>
          </a:p>
        </p:txBody>
      </p:sp>
      <p:sp>
        <p:nvSpPr>
          <p:cNvPr id="11" name="Rectangle 10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What variables should we drop with a p-value &gt;=0.2?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the script 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simonious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rsimony or compactness is desirable in models.  The more features in a model, the more complexity we introduce, data integrity, data interactions, time to score and time to predict are all impacted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simonious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R-</a:t>
            </a:r>
            <a:r>
              <a:rPr lang="en-US" sz="1100" dirty="0" err="1" smtClean="0"/>
              <a:t>Sq</a:t>
            </a:r>
            <a:r>
              <a:rPr lang="en-US" sz="1100" dirty="0" smtClean="0"/>
              <a:t>: how much of the variation are the model is fitting. R-</a:t>
            </a:r>
            <a:r>
              <a:rPr lang="en-US" sz="1100" dirty="0" err="1" smtClean="0"/>
              <a:t>Sq</a:t>
            </a:r>
            <a:r>
              <a:rPr lang="en-US" sz="1100" dirty="0" smtClean="0"/>
              <a:t>  measures the linear relationship between Price &amp; </a:t>
            </a:r>
            <a:r>
              <a:rPr lang="en-US" sz="1100" dirty="0"/>
              <a:t>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 the two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t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t2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37446" y="236520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ng a Prediction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 smtClean="0">
                <a:solidFill>
                  <a:schemeClr val="tx1"/>
                </a:solidFill>
              </a:rPr>
              <a:t>Sq</a:t>
            </a:r>
            <a:r>
              <a:rPr lang="en-US" dirty="0" smtClean="0">
                <a:solidFill>
                  <a:schemeClr val="tx1"/>
                </a:solidFill>
              </a:rPr>
              <a:t> there are two popular KPI for evaluating continuous model predictions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/>
                <a:gridCol w="173831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y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  <a:r>
              <a:rPr lang="en-US" dirty="0" smtClean="0"/>
              <a:t>-h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manually calculate RMSE, work the acronym backwards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eric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0717" y="1245475"/>
            <a:ext cx="8718331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umeric variables need to be examined, corrected and missing flags need to be created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2236075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sider this data:</a:t>
            </a:r>
            <a:endParaRPr lang="en-US" u="sng" dirty="0"/>
          </a:p>
        </p:txBody>
      </p:sp>
      <p:sp>
        <p:nvSpPr>
          <p:cNvPr id="9" name="TextBox 8"/>
          <p:cNvSpPr txBox="1"/>
          <p:nvPr/>
        </p:nvSpPr>
        <p:spPr>
          <a:xfrm>
            <a:off x="4761186" y="2963917"/>
            <a:ext cx="31665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ts unlikely a car has 122mp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way -110 horsepower!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945118" y="2236075"/>
            <a:ext cx="3448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With domain expertise you realize:</a:t>
            </a:r>
            <a:endParaRPr lang="en-US" u="sng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841680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/>
                <a:gridCol w="465138"/>
                <a:gridCol w="276225"/>
                <a:gridCol w="465138"/>
                <a:gridCol w="384175"/>
                <a:gridCol w="374650"/>
                <a:gridCol w="465138"/>
                <a:gridCol w="465138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22.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?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939863" y="3886199"/>
            <a:ext cx="405675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Through EDA you realize:</a:t>
            </a:r>
          </a:p>
          <a:p>
            <a:endParaRPr lang="en-US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ssing values are blank, NA, and “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307497566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 the same units being measured, tells you +/- the prediction error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quare Roo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4.03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E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stead of squaring error, take the absolute error.  Then divide that by the actual value.  Lastly calculate a mean average of all the percentage errors. 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43756"/>
              </p:ext>
            </p:extLst>
          </p:nvPr>
        </p:nvGraphicFramePr>
        <p:xfrm>
          <a:off x="314113" y="2368550"/>
          <a:ext cx="5562085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/>
                <a:gridCol w="1738313"/>
                <a:gridCol w="1039936"/>
                <a:gridCol w="1039936"/>
                <a:gridCol w="10399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bsolu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s % of Forecas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6/16 or </a:t>
                      </a:r>
                      <a:r>
                        <a:rPr lang="en-US" b="1" dirty="0" smtClean="0"/>
                        <a:t>3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4/8 or </a:t>
                      </a:r>
                    </a:p>
                    <a:p>
                      <a:pPr algn="ctr"/>
                      <a:r>
                        <a:rPr lang="en-US" b="1" dirty="0" smtClean="0"/>
                        <a:t>50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3/17 or </a:t>
                      </a:r>
                      <a:r>
                        <a:rPr lang="en-US" b="1" dirty="0" smtClean="0"/>
                        <a:t>1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2/34 or </a:t>
                      </a:r>
                    </a:p>
                    <a:p>
                      <a:pPr algn="ctr"/>
                      <a:r>
                        <a:rPr lang="en-US" b="1" dirty="0" smtClean="0"/>
                        <a:t>5%</a:t>
                      </a:r>
                      <a:endParaRPr lang="en-US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 of Percentag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7%+50%+17%+5%</a:t>
            </a:r>
            <a:endParaRPr lang="en-US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27.7%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script 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w good is Dale’s model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01709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Vs 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22" y="1277504"/>
            <a:ext cx="6840415" cy="436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4964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4" y="1306897"/>
            <a:ext cx="7930662" cy="505235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inary (Price &gt;$11K = 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4305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h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" y="1294125"/>
            <a:ext cx="7561385" cy="482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3071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find out firstha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08892" y="1406769"/>
            <a:ext cx="3822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</a:t>
            </a:r>
            <a:r>
              <a:rPr lang="en-US" sz="2800" b="1" u="sng" dirty="0" err="1" smtClean="0"/>
              <a:t>E_lm_for</a:t>
            </a:r>
            <a:r>
              <a:rPr lang="en-US" sz="2800" b="1" u="sng" dirty="0" smtClean="0"/>
              <a:t> </a:t>
            </a:r>
            <a:r>
              <a:rPr lang="en-US" sz="2800" b="1" u="sng" dirty="0" err="1" smtClean="0"/>
              <a:t>classes.R</a:t>
            </a:r>
            <a:endParaRPr lang="en-US" sz="2800" b="1" u="sng" dirty="0"/>
          </a:p>
        </p:txBody>
      </p:sp>
      <p:sp>
        <p:nvSpPr>
          <p:cNvPr id="7" name="Rectangle 6"/>
          <p:cNvSpPr/>
          <p:nvPr/>
        </p:nvSpPr>
        <p:spPr>
          <a:xfrm>
            <a:off x="2507457" y="2786063"/>
            <a:ext cx="4129087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 expediency we will not run this in class but you may want to as review of the preceding slid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69604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 smtClean="0"/>
              <a:t>Extends idea of linear regression to situation where outcome variable is categorical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Instead </a:t>
            </a:r>
            <a:r>
              <a:rPr lang="en-US" altLang="en-US" dirty="0" smtClean="0"/>
              <a:t>of ordinary least squares, </a:t>
            </a:r>
            <a:r>
              <a:rPr lang="en-US" altLang="en-US" i="1" dirty="0" smtClean="0">
                <a:latin typeface="Symbol" panose="05050102010706020507" pitchFamily="18" charset="2"/>
              </a:rPr>
              <a:t>b </a:t>
            </a:r>
            <a:r>
              <a:rPr lang="en-US" altLang="en-US" dirty="0" smtClean="0"/>
              <a:t>are </a:t>
            </a:r>
            <a:r>
              <a:rPr lang="en-US" altLang="en-US" dirty="0" smtClean="0"/>
              <a:t>derived through an iterative process called </a:t>
            </a:r>
            <a:r>
              <a:rPr lang="en-US" altLang="en-US" i="1" dirty="0" smtClean="0"/>
              <a:t>maximum likelihood estimation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 smtClean="0"/>
              <a:t>i.e. 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=0 or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=1</a:t>
            </a:r>
          </a:p>
          <a:p>
            <a:endParaRPr lang="en-US" altLang="en-US" dirty="0" smtClean="0"/>
          </a:p>
          <a:p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880160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he Logi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2933115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b="1" dirty="0" smtClean="0"/>
              <a:t>Goal:</a:t>
            </a:r>
            <a:r>
              <a:rPr lang="en-US" altLang="en-US" dirty="0" smtClean="0"/>
              <a:t> Find a function of the predictor variables that relates them to a 0/1 outcome</a:t>
            </a:r>
          </a:p>
          <a:p>
            <a:pPr eaLnBrk="1" hangingPunct="1"/>
            <a:endParaRPr lang="en-US" altLang="en-US" dirty="0" smtClean="0"/>
          </a:p>
          <a:p>
            <a:pPr eaLnBrk="1" hangingPunct="1"/>
            <a:r>
              <a:rPr lang="en-US" altLang="en-US" dirty="0" smtClean="0"/>
              <a:t>Instead of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 as outcome variable (like in linear regression), we use a function of Y called the </a:t>
            </a:r>
            <a:r>
              <a:rPr lang="en-US" altLang="en-US" b="1" i="1" dirty="0" smtClean="0"/>
              <a:t>logit</a:t>
            </a:r>
          </a:p>
          <a:p>
            <a:pPr eaLnBrk="1" hangingPunct="1"/>
            <a:r>
              <a:rPr lang="en-US" altLang="en-US" dirty="0" smtClean="0"/>
              <a:t>Logit can be modeled as a linear function of the predictors</a:t>
            </a:r>
          </a:p>
          <a:p>
            <a:pPr eaLnBrk="1" hangingPunct="1"/>
            <a:r>
              <a:rPr lang="en-US" altLang="en-US" dirty="0" smtClean="0"/>
              <a:t>The logit can be mapped back to a probability, which, in turn, can be mapped to a class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pic>
        <p:nvPicPr>
          <p:cNvPr id="86018" name="Picture 2" descr="Image result for log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034" y="3939808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/>
          <p:cNvSpPr/>
          <p:nvPr/>
        </p:nvSpPr>
        <p:spPr>
          <a:xfrm>
            <a:off x="5328140" y="3938954"/>
            <a:ext cx="879231" cy="21453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295293" y="4589583"/>
            <a:ext cx="2989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s is a continuous outcome but has little change  as it approaches -1 &amp; 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482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er Numeric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0717" y="1245475"/>
            <a:ext cx="8718331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utliers can be removed or the values can be replaced with imputation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sider this data:</a:t>
            </a:r>
            <a:endParaRPr lang="en-US" u="sng" dirty="0"/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record contains multiple integrity issu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65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Drop a row if:</a:t>
            </a:r>
            <a:endParaRPr lang="en-US" u="sng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/>
                <a:gridCol w="465138"/>
                <a:gridCol w="276225"/>
                <a:gridCol w="465138"/>
                <a:gridCol w="384175"/>
                <a:gridCol w="374650"/>
                <a:gridCol w="465138"/>
                <a:gridCol w="465138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22.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?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Impute (use a method to change the value):</a:t>
            </a:r>
          </a:p>
          <a:p>
            <a:endParaRPr lang="en-US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 smtClean="0"/>
              <a:t>Hotdeck</a:t>
            </a:r>
            <a:r>
              <a:rPr lang="en-US" dirty="0" smtClean="0"/>
              <a:t> – choose a random value in the vector say 19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Mean</a:t>
            </a:r>
            <a:r>
              <a:rPr lang="en-US" dirty="0" smtClean="0"/>
              <a:t> Imputation – mean </a:t>
            </a:r>
            <a:r>
              <a:rPr lang="en-US" dirty="0" err="1" smtClean="0"/>
              <a:t>avg</a:t>
            </a:r>
            <a:r>
              <a:rPr lang="en-US" dirty="0" smtClean="0"/>
              <a:t> of v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Median</a:t>
            </a:r>
            <a:r>
              <a:rPr lang="en-US" dirty="0" smtClean="0"/>
              <a:t> Imputation – median </a:t>
            </a:r>
            <a:r>
              <a:rPr lang="en-US" dirty="0" err="1" smtClean="0"/>
              <a:t>avg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rain an </a:t>
            </a:r>
            <a:r>
              <a:rPr lang="en-US" b="1" dirty="0" smtClean="0"/>
              <a:t>algorithm</a:t>
            </a:r>
            <a:r>
              <a:rPr lang="en-US" dirty="0" smtClean="0"/>
              <a:t> to fill in the values (KNN)</a:t>
            </a: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153443866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 smtClean="0"/>
              <a:t>Step 1: Logistic Response Functio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1351" y="1585871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 smtClean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  <a:endParaRPr lang="en" sz="2400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3042080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-44337" y="3806986"/>
            <a:ext cx="10062560" cy="1166855"/>
            <a:chOff x="-759635" y="2037702"/>
            <a:chExt cx="9136890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1274" t="-2410" b="-2530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 smtClean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  <a:endParaRPr lang="en" sz="2400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3766365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gression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556846" y="339122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stic Regression</a:t>
            </a:r>
            <a:endParaRPr lang="en-US" dirty="0"/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4012549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w Many Cones?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3340344" y="338756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ill they buy a cone Y/N?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527538" y="5200650"/>
            <a:ext cx="8071339" cy="8132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e will let R handle calculating the equation output </a:t>
            </a:r>
            <a:r>
              <a:rPr lang="en-US" dirty="0" err="1" smtClean="0"/>
              <a:t>logOdds</a:t>
            </a:r>
            <a:r>
              <a:rPr lang="en-US" dirty="0" smtClean="0"/>
              <a:t> to the more understandable probability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95142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CAA Classification Madne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522390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2000" b="1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452131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27538" y="5609492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ive: Identify the probability of a team winning in Round 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y friend Mandy is next level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2658" y="5833633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</a:t>
            </a:r>
            <a:r>
              <a:rPr lang="en-US" sz="1400" dirty="0" smtClean="0">
                <a:hlinkClick r:id="rId2"/>
              </a:rPr>
              <a:t>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abilities approach 0 and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621" y="1222726"/>
            <a:ext cx="6079958" cy="365639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rted probabilities for </a:t>
            </a:r>
            <a:r>
              <a:rPr lang="en-US" dirty="0" err="1" smtClean="0"/>
              <a:t>avg</a:t>
            </a:r>
            <a:r>
              <a:rPr lang="en-US" dirty="0" smtClean="0"/>
              <a:t> blocks across a wide spectrum -100 to 100 create an infinite curve of probabiliti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501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00013" y="365126"/>
            <a:ext cx="9401176" cy="591477"/>
          </a:xfrm>
        </p:spPr>
        <p:txBody>
          <a:bodyPr/>
          <a:lstStyle/>
          <a:p>
            <a:r>
              <a:rPr lang="en-US" dirty="0" smtClean="0"/>
              <a:t>From probability to class, define a cutoff threshol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03384" y="14478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mtClean="0"/>
              <a:t>0.50 is popular initial choice</a:t>
            </a:r>
          </a:p>
          <a:p>
            <a:endParaRPr lang="en-US" altLang="en-US" smtClean="0"/>
          </a:p>
          <a:p>
            <a:r>
              <a:rPr lang="en-US" altLang="en-US" smtClean="0"/>
              <a:t>Additional considerations (see Chapter 5)</a:t>
            </a:r>
          </a:p>
          <a:p>
            <a:pPr marL="742950" lvl="1" indent="-285750"/>
            <a:r>
              <a:rPr lang="en-US" altLang="en-US" sz="2200" smtClean="0"/>
              <a:t>Maximize classification accuracy</a:t>
            </a:r>
          </a:p>
          <a:p>
            <a:pPr marL="742950" lvl="1" indent="-285750"/>
            <a:r>
              <a:rPr lang="en-US" altLang="en-US" sz="2200" smtClean="0"/>
              <a:t>Maximize sensitivity (subject to min. level of specificity)</a:t>
            </a:r>
          </a:p>
          <a:p>
            <a:pPr marL="742950" lvl="1" indent="-285750"/>
            <a:r>
              <a:rPr lang="en-US" altLang="en-US" sz="2200" smtClean="0"/>
              <a:t>Minimize false positives (subject to max. false negative rate)</a:t>
            </a:r>
          </a:p>
          <a:p>
            <a:pPr marL="742950" lvl="1" indent="-285750"/>
            <a:r>
              <a:rPr lang="en-US" altLang="en-US" sz="2200" smtClean="0"/>
              <a:t>Minimize expected cost of misclassification (need to specify costs)</a:t>
            </a:r>
          </a:p>
          <a:p>
            <a:endParaRPr lang="en-US" altLang="en-US" smtClean="0"/>
          </a:p>
          <a:p>
            <a:endParaRPr lang="en-US" altLang="en-US" dirty="0" smtClean="0"/>
          </a:p>
        </p:txBody>
      </p:sp>
      <p:sp>
        <p:nvSpPr>
          <p:cNvPr id="8" name="Rectangle 7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f a team has a probability of .25 classify them as a loser.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f a team has .50  or more classify them as a winner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10092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7515" y="1459832"/>
            <a:ext cx="5982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Open </a:t>
            </a:r>
            <a:r>
              <a:rPr lang="en-US" sz="2800" b="1" dirty="0" err="1" smtClean="0"/>
              <a:t>G_fullyMarchMadnessREVISED.R</a:t>
            </a:r>
            <a:endParaRPr lang="en-US" sz="2800" b="1" dirty="0"/>
          </a:p>
        </p:txBody>
      </p:sp>
      <p:sp>
        <p:nvSpPr>
          <p:cNvPr id="7" name="Rectangle 6"/>
          <p:cNvSpPr/>
          <p:nvPr/>
        </p:nvSpPr>
        <p:spPr>
          <a:xfrm>
            <a:off x="2586038" y="3114675"/>
            <a:ext cx="4086225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e skip over the “F” </a:t>
            </a:r>
            <a:r>
              <a:rPr lang="en-US" dirty="0" err="1" smtClean="0"/>
              <a:t>Rscript</a:t>
            </a:r>
            <a:r>
              <a:rPr lang="en-US" dirty="0" smtClean="0"/>
              <a:t> which builds a single variable logistic regression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06959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ng a Classific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6274" y="1475876"/>
            <a:ext cx="1797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fusion Matrix</a:t>
            </a: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25" y="1855120"/>
            <a:ext cx="2750733" cy="13212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65095" y="1780675"/>
            <a:ext cx="499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predicted losers 390 (316 + 74)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was correct 316 times for lo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predicted 378 winners (68+3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model was correct 310 times for winn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40577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 Sum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 smtClean="0"/>
              <a:t>Logistic regression is similar to linear regression, except that it is used with a categorical response</a:t>
            </a:r>
          </a:p>
          <a:p>
            <a:r>
              <a:rPr lang="en-US" altLang="en-US" dirty="0" smtClean="0"/>
              <a:t>The </a:t>
            </a:r>
            <a:r>
              <a:rPr lang="en-US" altLang="en-US" dirty="0" smtClean="0"/>
              <a:t>predictors are related to the response Y via a nonlinear function called the </a:t>
            </a:r>
            <a:r>
              <a:rPr lang="en-US" altLang="en-US" i="1" dirty="0" smtClean="0"/>
              <a:t>logit</a:t>
            </a:r>
          </a:p>
          <a:p>
            <a:r>
              <a:rPr lang="en-US" altLang="en-US" dirty="0" smtClean="0"/>
              <a:t>As in linear regression, reducing predictors can be done via variable selection</a:t>
            </a:r>
          </a:p>
          <a:p>
            <a:r>
              <a:rPr lang="en-US" altLang="en-US" dirty="0" smtClean="0"/>
              <a:t>Logistic regression can be generalized to more than two classes</a:t>
            </a:r>
          </a:p>
        </p:txBody>
      </p:sp>
    </p:spTree>
    <p:extLst>
      <p:ext uri="{BB962C8B-B14F-4D97-AF65-F5344CB8AC3E}">
        <p14:creationId xmlns:p14="http://schemas.microsoft.com/office/powerpoint/2010/main" val="134431192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9412103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10751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Data Mining Toolbo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0" y="1714500"/>
            <a:ext cx="48408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asic Visualization</a:t>
            </a:r>
          </a:p>
          <a:p>
            <a:endParaRPr lang="en-US" dirty="0" smtClean="0"/>
          </a:p>
          <a:p>
            <a:r>
              <a:rPr lang="en-US" u="sng" dirty="0" smtClean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answer Yes/No Busin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predict continuous business outco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28600" y="51054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gression &amp; Logistic Regression are two good starting algorithms .  Both put you on a path to more complex machine learning but more importantly you can start to frame business problems in terms algorithms can understand. </a:t>
            </a:r>
            <a:endParaRPr lang="en-US" dirty="0"/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132" y="36433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2" y="39481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697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sing Numeric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0717" y="1245475"/>
            <a:ext cx="8718331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mputation is a best practice over Usually start with an easy method like median or </a:t>
            </a:r>
            <a:r>
              <a:rPr lang="en-US" dirty="0" err="1" smtClean="0">
                <a:solidFill>
                  <a:schemeClr val="bg1"/>
                </a:solidFill>
              </a:rPr>
              <a:t>hotdeck</a:t>
            </a:r>
            <a:r>
              <a:rPr lang="en-US" dirty="0" smtClean="0">
                <a:solidFill>
                  <a:schemeClr val="bg1"/>
                </a:solidFill>
              </a:rPr>
              <a:t>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Consider this data:</a:t>
            </a:r>
            <a:endParaRPr lang="en-US" u="sng" dirty="0"/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record contains multiple integrity issu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65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Drop a row if:</a:t>
            </a:r>
            <a:endParaRPr lang="en-US" u="sng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/>
                <a:gridCol w="465138"/>
                <a:gridCol w="276225"/>
                <a:gridCol w="465138"/>
                <a:gridCol w="384175"/>
                <a:gridCol w="374650"/>
                <a:gridCol w="465138"/>
                <a:gridCol w="465138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?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Impute (use a method to change the value):</a:t>
            </a:r>
          </a:p>
          <a:p>
            <a:endParaRPr lang="en-US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 smtClean="0"/>
              <a:t>Hotdeck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Mean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Median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Algorithm</a:t>
            </a:r>
            <a:r>
              <a:rPr lang="en-US" dirty="0" smtClean="0"/>
              <a:t> (KNN)</a:t>
            </a: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16028568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7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sing Numeric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1891" y="1245476"/>
            <a:ext cx="9002109" cy="3231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500" dirty="0" smtClean="0">
                <a:solidFill>
                  <a:schemeClr val="bg1"/>
                </a:solidFill>
              </a:rPr>
              <a:t>Imputation through domain expertise can be VERY time consuming but is sometimes worth it though not often.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69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Consider this data:</a:t>
            </a:r>
            <a:endParaRPr lang="en-US" b="1" u="sng" dirty="0"/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record contains multiple integrity issu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96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Drop a row if:</a:t>
            </a:r>
            <a:endParaRPr lang="en-US" b="1" u="sng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/>
                <a:gridCol w="465138"/>
                <a:gridCol w="276225"/>
                <a:gridCol w="465138"/>
                <a:gridCol w="384175"/>
                <a:gridCol w="374650"/>
                <a:gridCol w="465138"/>
                <a:gridCol w="465138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46.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.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Impute (use a method to change the value)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-110 looks like a data entry issue &amp; other Mazda has 11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Qsec</a:t>
            </a:r>
            <a:r>
              <a:rPr lang="en-US" dirty="0" smtClean="0"/>
              <a:t> can be imputed with the similar model valu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852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53</TotalTime>
  <Words>5051</Words>
  <Application>Microsoft Office PowerPoint</Application>
  <PresentationFormat>On-screen Show (4:3)</PresentationFormat>
  <Paragraphs>1828</Paragraphs>
  <Slides>79</Slides>
  <Notes>23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9</vt:i4>
      </vt:variant>
    </vt:vector>
  </HeadingPairs>
  <TitlesOfParts>
    <vt:vector size="91" baseType="lpstr">
      <vt:lpstr>Arial</vt:lpstr>
      <vt:lpstr>Calibri</vt:lpstr>
      <vt:lpstr>Calibri Light</vt:lpstr>
      <vt:lpstr>Cambria Math</vt:lpstr>
      <vt:lpstr>Consolas</vt:lpstr>
      <vt:lpstr>Franklin Gothic Book</vt:lpstr>
      <vt:lpstr>Lucida Console</vt:lpstr>
      <vt:lpstr>Open Sans</vt:lpstr>
      <vt:lpstr>Symbol</vt:lpstr>
      <vt:lpstr>Wingdings 2</vt:lpstr>
      <vt:lpstr>1_Office Theme</vt:lpstr>
      <vt:lpstr>think-cell Slide</vt:lpstr>
      <vt:lpstr>Agenda</vt:lpstr>
      <vt:lpstr>Review</vt:lpstr>
      <vt:lpstr>Data Structure for Analysis &amp; Modeling</vt:lpstr>
      <vt:lpstr>Dummy Variables</vt:lpstr>
      <vt:lpstr>Dummy Variables</vt:lpstr>
      <vt:lpstr>Numeric Variables</vt:lpstr>
      <vt:lpstr>Outlier Numeric Variables</vt:lpstr>
      <vt:lpstr>Missing Numeric Variables</vt:lpstr>
      <vt:lpstr>Missing Numeric Variables</vt:lpstr>
      <vt:lpstr>Missing Numeric Variables</vt:lpstr>
      <vt:lpstr>Missing Flags</vt:lpstr>
      <vt:lpstr>lib(vtreat) – automated variable treatment</vt:lpstr>
      <vt:lpstr>Modeling Process</vt:lpstr>
      <vt:lpstr>Steps in Data Mining (from the book)</vt:lpstr>
      <vt:lpstr>What is a model?</vt:lpstr>
      <vt:lpstr>Vocabulary</vt:lpstr>
      <vt:lpstr>Agenda</vt:lpstr>
      <vt:lpstr>Let’s Practice</vt:lpstr>
      <vt:lpstr>Agenda</vt:lpstr>
      <vt:lpstr>The problem of Overfitting</vt:lpstr>
      <vt:lpstr>Minimize Overfitting - Partitioning</vt:lpstr>
      <vt:lpstr>Minimize Overfitting - Partitioning</vt:lpstr>
      <vt:lpstr>Next Glass</vt:lpstr>
      <vt:lpstr>Let’s Practice</vt:lpstr>
      <vt:lpstr>Agenda</vt:lpstr>
      <vt:lpstr>Supervised Learning</vt:lpstr>
      <vt:lpstr>Supervised Learning Example</vt:lpstr>
      <vt:lpstr>Linear Regression for continuous outcomes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Least Squared Error?</vt:lpstr>
      <vt:lpstr>So what is really going on?</vt:lpstr>
      <vt:lpstr>Let’s Practice</vt:lpstr>
      <vt:lpstr>Explanatory Vs Predictive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Let’s practice.</vt:lpstr>
      <vt:lpstr>Regression is susceptible to multi-colinearity</vt:lpstr>
      <vt:lpstr>Regression is susceptible to multi-colinearity</vt:lpstr>
      <vt:lpstr>Back to R, script D!</vt:lpstr>
      <vt:lpstr>Agenda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Agenda</vt:lpstr>
      <vt:lpstr>Regression Vs Logistic Regression</vt:lpstr>
      <vt:lpstr>PowerPoint Presentation</vt:lpstr>
      <vt:lpstr>Huh?</vt:lpstr>
      <vt:lpstr>Let’s find out firsthand.</vt:lpstr>
      <vt:lpstr>Logistic Regression</vt:lpstr>
      <vt:lpstr>The Logit</vt:lpstr>
      <vt:lpstr>Step 1: Logistic Response Function</vt:lpstr>
      <vt:lpstr>NCAA Classification Madness</vt:lpstr>
      <vt:lpstr>My friend Mandy is next level.</vt:lpstr>
      <vt:lpstr>Probabilities approach 0 and 1</vt:lpstr>
      <vt:lpstr>From probability to class, define a cutoff threshold.</vt:lpstr>
      <vt:lpstr>Let’s practice</vt:lpstr>
      <vt:lpstr>Evaluating a Classification</vt:lpstr>
      <vt:lpstr>Logistic Regression Summary</vt:lpstr>
      <vt:lpstr>Agenda</vt:lpstr>
      <vt:lpstr>Your Data Mining Toolbox</vt:lpstr>
    </vt:vector>
  </TitlesOfParts>
  <Company>Liberty Mutu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59</cp:revision>
  <dcterms:created xsi:type="dcterms:W3CDTF">2018-05-23T17:24:59Z</dcterms:created>
  <dcterms:modified xsi:type="dcterms:W3CDTF">2018-07-18T07:07:17Z</dcterms:modified>
</cp:coreProperties>
</file>